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6" r:id="rId1"/>
  </p:sldMasterIdLst>
  <p:sldIdLst>
    <p:sldId id="256" r:id="rId2"/>
    <p:sldId id="258" r:id="rId3"/>
    <p:sldId id="263" r:id="rId4"/>
    <p:sldId id="259" r:id="rId5"/>
    <p:sldId id="260" r:id="rId6"/>
    <p:sldId id="261" r:id="rId7"/>
    <p:sldId id="264" r:id="rId8"/>
    <p:sldId id="262" r:id="rId9"/>
    <p:sldId id="265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C9B936-EF00-4440-BC5C-7C814546CE9C}" v="87" dt="2019-10-15T22:04:10.5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81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30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iefei XIA" userId="ce89ef966aca71f0" providerId="LiveId" clId="{726BF2C9-E2BA-4DAE-8200-A2F16DB65534}"/>
    <pc:docChg chg="undo custSel addSld modSld sldOrd">
      <pc:chgData name="Jiefei XIA" userId="ce89ef966aca71f0" providerId="LiveId" clId="{726BF2C9-E2BA-4DAE-8200-A2F16DB65534}" dt="2019-10-08T21:24:34.151" v="163" actId="20577"/>
      <pc:docMkLst>
        <pc:docMk/>
      </pc:docMkLst>
      <pc:sldChg chg="addSp delSp modSp add">
        <pc:chgData name="Jiefei XIA" userId="ce89ef966aca71f0" providerId="LiveId" clId="{726BF2C9-E2BA-4DAE-8200-A2F16DB65534}" dt="2019-10-08T21:24:17.074" v="153"/>
        <pc:sldMkLst>
          <pc:docMk/>
          <pc:sldMk cId="448271826" sldId="257"/>
        </pc:sldMkLst>
        <pc:spChg chg="del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2" creationId="{469495D7-7130-4CA9-A453-3C76E6FFFC52}"/>
          </ac:spMkLst>
        </pc:spChg>
        <pc:spChg chg="del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3" creationId="{F2583E38-BCE4-455F-9D17-36E2FBA92CE6}"/>
          </ac:spMkLst>
        </pc:spChg>
        <pc:spChg chg="add mod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4" creationId="{0A0859BE-9DE9-4B56-9EC5-1D1CDC645B7A}"/>
          </ac:spMkLst>
        </pc:spChg>
        <pc:spChg chg="add mod">
          <ac:chgData name="Jiefei XIA" userId="ce89ef966aca71f0" providerId="LiveId" clId="{726BF2C9-E2BA-4DAE-8200-A2F16DB65534}" dt="2019-10-08T21:24:16.434" v="138"/>
          <ac:spMkLst>
            <pc:docMk/>
            <pc:sldMk cId="448271826" sldId="257"/>
            <ac:spMk id="5" creationId="{EDD86B28-A051-4F1A-8E62-E2CB7B4496AD}"/>
          </ac:spMkLst>
        </pc:spChg>
        <pc:graphicFrameChg chg="add mod ord modVis">
          <ac:chgData name="Jiefei XIA" userId="ce89ef966aca71f0" providerId="LiveId" clId="{726BF2C9-E2BA-4DAE-8200-A2F16DB65534}" dt="2019-10-08T21:24:17.074" v="153"/>
          <ac:graphicFrameMkLst>
            <pc:docMk/>
            <pc:sldMk cId="448271826" sldId="257"/>
            <ac:graphicFrameMk id="6" creationId="{48E3EC5A-91D4-44B6-AD89-902419E65557}"/>
          </ac:graphicFrameMkLst>
        </pc:graphicFrameChg>
      </pc:sldChg>
      <pc:sldChg chg="addSp delSp modSp add ord">
        <pc:chgData name="Jiefei XIA" userId="ce89ef966aca71f0" providerId="LiveId" clId="{726BF2C9-E2BA-4DAE-8200-A2F16DB65534}" dt="2019-10-08T21:24:34.151" v="163" actId="20577"/>
        <pc:sldMkLst>
          <pc:docMk/>
          <pc:sldMk cId="3113173825" sldId="258"/>
        </pc:sldMkLst>
        <pc:spChg chg="mod">
          <ac:chgData name="Jiefei XIA" userId="ce89ef966aca71f0" providerId="LiveId" clId="{726BF2C9-E2BA-4DAE-8200-A2F16DB65534}" dt="2019-10-08T21:16:25.688" v="33" actId="20577"/>
          <ac:spMkLst>
            <pc:docMk/>
            <pc:sldMk cId="3113173825" sldId="258"/>
            <ac:spMk id="2" creationId="{F7B19DF2-687C-40B3-BB79-FC00775050C1}"/>
          </ac:spMkLst>
        </pc:spChg>
        <pc:spChg chg="del">
          <ac:chgData name="Jiefei XIA" userId="ce89ef966aca71f0" providerId="LiveId" clId="{726BF2C9-E2BA-4DAE-8200-A2F16DB65534}" dt="2019-10-08T21:17:28.300" v="37"/>
          <ac:spMkLst>
            <pc:docMk/>
            <pc:sldMk cId="3113173825" sldId="258"/>
            <ac:spMk id="3" creationId="{1BC16FE9-0610-4FA6-B799-EE5A2639487D}"/>
          </ac:spMkLst>
        </pc:spChg>
        <pc:spChg chg="mod">
          <ac:chgData name="Jiefei XIA" userId="ce89ef966aca71f0" providerId="LiveId" clId="{726BF2C9-E2BA-4DAE-8200-A2F16DB65534}" dt="2019-10-08T21:24:34.151" v="163" actId="20577"/>
          <ac:spMkLst>
            <pc:docMk/>
            <pc:sldMk cId="3113173825" sldId="258"/>
            <ac:spMk id="4" creationId="{83B5960D-273E-46BD-AAC1-0AE22AE93AD7}"/>
          </ac:spMkLst>
        </pc:spChg>
        <pc:spChg chg="add del mod">
          <ac:chgData name="Jiefei XIA" userId="ce89ef966aca71f0" providerId="LiveId" clId="{726BF2C9-E2BA-4DAE-8200-A2F16DB65534}" dt="2019-10-08T21:18:56.374" v="76"/>
          <ac:spMkLst>
            <pc:docMk/>
            <pc:sldMk cId="3113173825" sldId="258"/>
            <ac:spMk id="6" creationId="{835EE793-FEB6-40A2-9F76-D94AA4A8B264}"/>
          </ac:spMkLst>
        </pc:spChg>
        <pc:spChg chg="add mod">
          <ac:chgData name="Jiefei XIA" userId="ce89ef966aca71f0" providerId="LiveId" clId="{726BF2C9-E2BA-4DAE-8200-A2F16DB65534}" dt="2019-10-08T21:18:56.374" v="76"/>
          <ac:spMkLst>
            <pc:docMk/>
            <pc:sldMk cId="3113173825" sldId="258"/>
            <ac:spMk id="7" creationId="{318F147B-DFCD-4C8C-AD44-A24AAEE20BF4}"/>
          </ac:spMkLst>
        </pc:spChg>
        <pc:graphicFrameChg chg="add mod ord modVis">
          <ac:chgData name="Jiefei XIA" userId="ce89ef966aca71f0" providerId="LiveId" clId="{726BF2C9-E2BA-4DAE-8200-A2F16DB65534}" dt="2019-10-08T21:18:56.943" v="78"/>
          <ac:graphicFrameMkLst>
            <pc:docMk/>
            <pc:sldMk cId="3113173825" sldId="258"/>
            <ac:graphicFrameMk id="5" creationId="{B2C584CC-E8C1-4BBA-A70E-F2BB41DDA4D9}"/>
          </ac:graphicFrameMkLst>
        </pc:graphicFrameChg>
        <pc:picChg chg="add del">
          <ac:chgData name="Jiefei XIA" userId="ce89ef966aca71f0" providerId="LiveId" clId="{726BF2C9-E2BA-4DAE-8200-A2F16DB65534}" dt="2019-10-08T21:18:46.104" v="74" actId="478"/>
          <ac:picMkLst>
            <pc:docMk/>
            <pc:sldMk cId="3113173825" sldId="258"/>
            <ac:picMk id="3074" creationId="{EA43B48F-9C2E-4144-8147-E7DFE6C564BD}"/>
          </ac:picMkLst>
        </pc:picChg>
      </pc:sldChg>
    </pc:docChg>
  </pc:docChgLst>
  <pc:docChgLst>
    <pc:chgData name="Jiefei XIA" userId="ce89ef966aca71f0" providerId="LiveId" clId="{9EC9B936-EF00-4440-BC5C-7C814546CE9C}"/>
    <pc:docChg chg="modSld">
      <pc:chgData name="Jiefei XIA" userId="ce89ef966aca71f0" providerId="LiveId" clId="{9EC9B936-EF00-4440-BC5C-7C814546CE9C}" dt="2019-10-15T22:04:10.518" v="67" actId="478"/>
      <pc:docMkLst>
        <pc:docMk/>
      </pc:docMkLst>
      <pc:sldChg chg="modSp">
        <pc:chgData name="Jiefei XIA" userId="ce89ef966aca71f0" providerId="LiveId" clId="{9EC9B936-EF00-4440-BC5C-7C814546CE9C}" dt="2019-10-15T21:51:01.697" v="0"/>
        <pc:sldMkLst>
          <pc:docMk/>
          <pc:sldMk cId="1444766096" sldId="256"/>
        </pc:sldMkLst>
        <pc:spChg chg="mod">
          <ac:chgData name="Jiefei XIA" userId="ce89ef966aca71f0" providerId="LiveId" clId="{9EC9B936-EF00-4440-BC5C-7C814546CE9C}" dt="2019-10-15T21:51:01.697" v="0"/>
          <ac:spMkLst>
            <pc:docMk/>
            <pc:sldMk cId="1444766096" sldId="256"/>
            <ac:spMk id="3" creationId="{AA1E4B25-A58B-4469-8C85-2882A0670E2F}"/>
          </ac:spMkLst>
        </pc:spChg>
      </pc:sldChg>
      <pc:sldChg chg="addSp modSp">
        <pc:chgData name="Jiefei XIA" userId="ce89ef966aca71f0" providerId="LiveId" clId="{9EC9B936-EF00-4440-BC5C-7C814546CE9C}" dt="2019-10-15T22:02:35.966" v="51" actId="1076"/>
        <pc:sldMkLst>
          <pc:docMk/>
          <pc:sldMk cId="2433673258" sldId="259"/>
        </pc:sldMkLst>
        <pc:spChg chg="mod">
          <ac:chgData name="Jiefei XIA" userId="ce89ef966aca71f0" providerId="LiveId" clId="{9EC9B936-EF00-4440-BC5C-7C814546CE9C}" dt="2019-10-15T21:59:49.835" v="44"/>
          <ac:spMkLst>
            <pc:docMk/>
            <pc:sldMk cId="2433673258" sldId="259"/>
            <ac:spMk id="13" creationId="{DC590885-2D62-4826-98B0-BB1BE6BF02D0}"/>
          </ac:spMkLst>
        </pc:spChg>
        <pc:picChg chg="add mod">
          <ac:chgData name="Jiefei XIA" userId="ce89ef966aca71f0" providerId="LiveId" clId="{9EC9B936-EF00-4440-BC5C-7C814546CE9C}" dt="2019-10-15T22:02:35.966" v="51" actId="1076"/>
          <ac:picMkLst>
            <pc:docMk/>
            <pc:sldMk cId="2433673258" sldId="259"/>
            <ac:picMk id="4098" creationId="{E73ABF03-40F4-40E0-AF66-0BF111655672}"/>
          </ac:picMkLst>
        </pc:picChg>
      </pc:sldChg>
      <pc:sldChg chg="addSp delSp modSp">
        <pc:chgData name="Jiefei XIA" userId="ce89ef966aca71f0" providerId="LiveId" clId="{9EC9B936-EF00-4440-BC5C-7C814546CE9C}" dt="2019-10-15T22:03:32.696" v="56" actId="14100"/>
        <pc:sldMkLst>
          <pc:docMk/>
          <pc:sldMk cId="1593806009" sldId="260"/>
        </pc:sldMkLst>
        <pc:spChg chg="mod">
          <ac:chgData name="Jiefei XIA" userId="ce89ef966aca71f0" providerId="LiveId" clId="{9EC9B936-EF00-4440-BC5C-7C814546CE9C}" dt="2019-10-15T21:59:49.835" v="44"/>
          <ac:spMkLst>
            <pc:docMk/>
            <pc:sldMk cId="1593806009" sldId="260"/>
            <ac:spMk id="18" creationId="{7C7C8246-F215-4CBD-BF2E-75791D07C471}"/>
          </ac:spMkLst>
        </pc:spChg>
        <pc:spChg chg="mod">
          <ac:chgData name="Jiefei XIA" userId="ce89ef966aca71f0" providerId="LiveId" clId="{9EC9B936-EF00-4440-BC5C-7C814546CE9C}" dt="2019-10-15T21:52:52.829" v="13"/>
          <ac:spMkLst>
            <pc:docMk/>
            <pc:sldMk cId="1593806009" sldId="260"/>
            <ac:spMk id="21" creationId="{1AF1D8E6-3606-4FF0-A353-8DF13E0C533E}"/>
          </ac:spMkLst>
        </pc:spChg>
        <pc:picChg chg="add mod">
          <ac:chgData name="Jiefei XIA" userId="ce89ef966aca71f0" providerId="LiveId" clId="{9EC9B936-EF00-4440-BC5C-7C814546CE9C}" dt="2019-10-15T22:03:32.696" v="56" actId="14100"/>
          <ac:picMkLst>
            <pc:docMk/>
            <pc:sldMk cId="1593806009" sldId="260"/>
            <ac:picMk id="19" creationId="{6222C806-E6AA-4507-A07A-2F6B40F11CB2}"/>
          </ac:picMkLst>
        </pc:picChg>
        <pc:picChg chg="add del mod">
          <ac:chgData name="Jiefei XIA" userId="ce89ef966aca71f0" providerId="LiveId" clId="{9EC9B936-EF00-4440-BC5C-7C814546CE9C}" dt="2019-10-15T22:02:15.395" v="48" actId="478"/>
          <ac:picMkLst>
            <pc:docMk/>
            <pc:sldMk cId="1593806009" sldId="260"/>
            <ac:picMk id="27" creationId="{EF6BD0F6-C6F1-417F-B901-A9D80265DF79}"/>
          </ac:picMkLst>
        </pc:picChg>
        <pc:picChg chg="add del">
          <ac:chgData name="Jiefei XIA" userId="ce89ef966aca71f0" providerId="LiveId" clId="{9EC9B936-EF00-4440-BC5C-7C814546CE9C}" dt="2019-10-15T21:52:19.379" v="5"/>
          <ac:picMkLst>
            <pc:docMk/>
            <pc:sldMk cId="1593806009" sldId="260"/>
            <ac:picMk id="5122" creationId="{C332F8B9-B6A1-45F0-9523-BA78A2BFA299}"/>
          </ac:picMkLst>
        </pc:picChg>
        <pc:picChg chg="add mod">
          <ac:chgData name="Jiefei XIA" userId="ce89ef966aca71f0" providerId="LiveId" clId="{9EC9B936-EF00-4440-BC5C-7C814546CE9C}" dt="2019-10-15T22:03:32.696" v="56" actId="14100"/>
          <ac:picMkLst>
            <pc:docMk/>
            <pc:sldMk cId="1593806009" sldId="260"/>
            <ac:picMk id="5124" creationId="{EA3C84B2-6905-4FD4-86A3-F107A95C507B}"/>
          </ac:picMkLst>
        </pc:picChg>
      </pc:sldChg>
      <pc:sldChg chg="addSp delSp modSp">
        <pc:chgData name="Jiefei XIA" userId="ce89ef966aca71f0" providerId="LiveId" clId="{9EC9B936-EF00-4440-BC5C-7C814546CE9C}" dt="2019-10-15T22:03:38.723" v="57"/>
        <pc:sldMkLst>
          <pc:docMk/>
          <pc:sldMk cId="1377444166" sldId="261"/>
        </pc:sldMkLst>
        <pc:spChg chg="mod">
          <ac:chgData name="Jiefei XIA" userId="ce89ef966aca71f0" providerId="LiveId" clId="{9EC9B936-EF00-4440-BC5C-7C814546CE9C}" dt="2019-10-15T21:59:49.835" v="44"/>
          <ac:spMkLst>
            <pc:docMk/>
            <pc:sldMk cId="1377444166" sldId="261"/>
            <ac:spMk id="13" creationId="{0C475B3C-8508-4AD6-9C6E-2D9022C4AA1A}"/>
          </ac:spMkLst>
        </pc:spChg>
        <pc:picChg chg="add del">
          <ac:chgData name="Jiefei XIA" userId="ce89ef966aca71f0" providerId="LiveId" clId="{9EC9B936-EF00-4440-BC5C-7C814546CE9C}" dt="2019-10-15T22:03:24.160" v="55" actId="478"/>
          <ac:picMkLst>
            <pc:docMk/>
            <pc:sldMk cId="1377444166" sldId="261"/>
            <ac:picMk id="23" creationId="{FDC5CDD6-AF6A-4190-8D4A-059AB172167F}"/>
          </ac:picMkLst>
        </pc:picChg>
        <pc:picChg chg="add del">
          <ac:chgData name="Jiefei XIA" userId="ce89ef966aca71f0" providerId="LiveId" clId="{9EC9B936-EF00-4440-BC5C-7C814546CE9C}" dt="2019-10-15T22:03:24.160" v="55" actId="478"/>
          <ac:picMkLst>
            <pc:docMk/>
            <pc:sldMk cId="1377444166" sldId="261"/>
            <ac:picMk id="25" creationId="{8B9CE1E0-61B9-4130-9154-4A0054F1F69F}"/>
          </ac:picMkLst>
        </pc:picChg>
        <pc:picChg chg="add del mod">
          <ac:chgData name="Jiefei XIA" userId="ce89ef966aca71f0" providerId="LiveId" clId="{9EC9B936-EF00-4440-BC5C-7C814546CE9C}" dt="2019-10-15T22:03:24.160" v="55" actId="478"/>
          <ac:picMkLst>
            <pc:docMk/>
            <pc:sldMk cId="1377444166" sldId="261"/>
            <ac:picMk id="27" creationId="{17499ED3-EDC1-4862-929C-9A99ADAF16AB}"/>
          </ac:picMkLst>
        </pc:picChg>
        <pc:picChg chg="add">
          <ac:chgData name="Jiefei XIA" userId="ce89ef966aca71f0" providerId="LiveId" clId="{9EC9B936-EF00-4440-BC5C-7C814546CE9C}" dt="2019-10-15T22:03:38.723" v="57"/>
          <ac:picMkLst>
            <pc:docMk/>
            <pc:sldMk cId="1377444166" sldId="261"/>
            <ac:picMk id="29" creationId="{9EA5A0C9-C593-484E-90A3-38DD9993344E}"/>
          </ac:picMkLst>
        </pc:picChg>
        <pc:picChg chg="add">
          <ac:chgData name="Jiefei XIA" userId="ce89ef966aca71f0" providerId="LiveId" clId="{9EC9B936-EF00-4440-BC5C-7C814546CE9C}" dt="2019-10-15T22:03:38.723" v="57"/>
          <ac:picMkLst>
            <pc:docMk/>
            <pc:sldMk cId="1377444166" sldId="261"/>
            <ac:picMk id="30" creationId="{9DBAFA8A-B972-46A9-B9AA-CD6508EDF97A}"/>
          </ac:picMkLst>
        </pc:picChg>
      </pc:sldChg>
      <pc:sldChg chg="addSp delSp modSp">
        <pc:chgData name="Jiefei XIA" userId="ce89ef966aca71f0" providerId="LiveId" clId="{9EC9B936-EF00-4440-BC5C-7C814546CE9C}" dt="2019-10-15T22:04:10.518" v="67" actId="478"/>
        <pc:sldMkLst>
          <pc:docMk/>
          <pc:sldMk cId="628284466" sldId="264"/>
        </pc:sldMkLst>
        <pc:spChg chg="mod">
          <ac:chgData name="Jiefei XIA" userId="ce89ef966aca71f0" providerId="LiveId" clId="{9EC9B936-EF00-4440-BC5C-7C814546CE9C}" dt="2019-10-15T21:59:49.835" v="44"/>
          <ac:spMkLst>
            <pc:docMk/>
            <pc:sldMk cId="628284466" sldId="264"/>
            <ac:spMk id="13" creationId="{0C475B3C-8508-4AD6-9C6E-2D9022C4AA1A}"/>
          </ac:spMkLst>
        </pc:spChg>
        <pc:picChg chg="add mod">
          <ac:chgData name="Jiefei XIA" userId="ce89ef966aca71f0" providerId="LiveId" clId="{9EC9B936-EF00-4440-BC5C-7C814546CE9C}" dt="2019-10-15T21:57:43.886" v="40" actId="1076"/>
          <ac:picMkLst>
            <pc:docMk/>
            <pc:sldMk cId="628284466" sldId="264"/>
            <ac:picMk id="35" creationId="{2391824A-F00B-4F49-9506-89D7A77AD7AD}"/>
          </ac:picMkLst>
        </pc:picChg>
        <pc:picChg chg="add mod">
          <ac:chgData name="Jiefei XIA" userId="ce89ef966aca71f0" providerId="LiveId" clId="{9EC9B936-EF00-4440-BC5C-7C814546CE9C}" dt="2019-10-15T22:04:05.924" v="66" actId="1076"/>
          <ac:picMkLst>
            <pc:docMk/>
            <pc:sldMk cId="628284466" sldId="264"/>
            <ac:picMk id="36" creationId="{E360C47E-17A3-4BEC-B609-B52CEA4AC54C}"/>
          </ac:picMkLst>
        </pc:picChg>
        <pc:picChg chg="add del">
          <ac:chgData name="Jiefei XIA" userId="ce89ef966aca71f0" providerId="LiveId" clId="{9EC9B936-EF00-4440-BC5C-7C814546CE9C}" dt="2019-10-15T22:04:10.518" v="67" actId="478"/>
          <ac:picMkLst>
            <pc:docMk/>
            <pc:sldMk cId="628284466" sldId="264"/>
            <ac:picMk id="37" creationId="{4D7DA38F-D4A8-4194-90AD-671D643A78F5}"/>
          </ac:picMkLst>
        </pc:picChg>
        <pc:picChg chg="add del">
          <ac:chgData name="Jiefei XIA" userId="ce89ef966aca71f0" providerId="LiveId" clId="{9EC9B936-EF00-4440-BC5C-7C814546CE9C}" dt="2019-10-15T22:04:10.518" v="67" actId="478"/>
          <ac:picMkLst>
            <pc:docMk/>
            <pc:sldMk cId="628284466" sldId="264"/>
            <ac:picMk id="38" creationId="{043C5388-02B7-4FE7-B4A3-6F404052E2C7}"/>
          </ac:picMkLst>
        </pc:picChg>
        <pc:picChg chg="add del mod">
          <ac:chgData name="Jiefei XIA" userId="ce89ef966aca71f0" providerId="LiveId" clId="{9EC9B936-EF00-4440-BC5C-7C814546CE9C}" dt="2019-10-15T22:04:10.518" v="67" actId="478"/>
          <ac:picMkLst>
            <pc:docMk/>
            <pc:sldMk cId="628284466" sldId="264"/>
            <ac:picMk id="39" creationId="{289DB5FC-7C5F-42B8-B997-C724974B480F}"/>
          </ac:picMkLst>
        </pc:picChg>
        <pc:picChg chg="add mod">
          <ac:chgData name="Jiefei XIA" userId="ce89ef966aca71f0" providerId="LiveId" clId="{9EC9B936-EF00-4440-BC5C-7C814546CE9C}" dt="2019-10-15T22:03:50.216" v="61" actId="1076"/>
          <ac:picMkLst>
            <pc:docMk/>
            <pc:sldMk cId="628284466" sldId="264"/>
            <ac:picMk id="40" creationId="{DF8E2E41-22BD-4D9E-8DEF-F3AD040CDC0A}"/>
          </ac:picMkLst>
        </pc:picChg>
        <pc:picChg chg="add mod">
          <ac:chgData name="Jiefei XIA" userId="ce89ef966aca71f0" providerId="LiveId" clId="{9EC9B936-EF00-4440-BC5C-7C814546CE9C}" dt="2019-10-15T22:03:47.606" v="60" actId="1076"/>
          <ac:picMkLst>
            <pc:docMk/>
            <pc:sldMk cId="628284466" sldId="264"/>
            <ac:picMk id="41" creationId="{653B65DA-6EF4-4548-BF01-C41BF74BB4D1}"/>
          </ac:picMkLst>
        </pc:picChg>
        <pc:picChg chg="add del mod">
          <ac:chgData name="Jiefei XIA" userId="ce89ef966aca71f0" providerId="LiveId" clId="{9EC9B936-EF00-4440-BC5C-7C814546CE9C}" dt="2019-10-15T21:56:47.085" v="26" actId="478"/>
          <ac:picMkLst>
            <pc:docMk/>
            <pc:sldMk cId="628284466" sldId="264"/>
            <ac:picMk id="6146" creationId="{D3FB4A5D-DB1A-4DA5-803E-ADDB7962E5F6}"/>
          </ac:picMkLst>
        </pc:picChg>
        <pc:picChg chg="add del mod">
          <ac:chgData name="Jiefei XIA" userId="ce89ef966aca71f0" providerId="LiveId" clId="{9EC9B936-EF00-4440-BC5C-7C814546CE9C}" dt="2019-10-15T22:04:03.827" v="65" actId="1076"/>
          <ac:picMkLst>
            <pc:docMk/>
            <pc:sldMk cId="628284466" sldId="264"/>
            <ac:picMk id="6148" creationId="{ACF7368C-4CEE-4B79-BEB0-C7BD6EC7A0C4}"/>
          </ac:picMkLst>
        </pc:picChg>
        <pc:picChg chg="add del mod">
          <ac:chgData name="Jiefei XIA" userId="ce89ef966aca71f0" providerId="LiveId" clId="{9EC9B936-EF00-4440-BC5C-7C814546CE9C}" dt="2019-10-15T21:57:37.402" v="37"/>
          <ac:picMkLst>
            <pc:docMk/>
            <pc:sldMk cId="628284466" sldId="264"/>
            <ac:picMk id="6150" creationId="{FAAF58E4-A176-4A67-9981-D77BC9AC9C88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9C37B-1D36-470B-8223-D6C91242EC14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6F52A-A82B-47A2-A83A-8C4C91F2D59F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A7B3-6521-4DCA-87E5-044747A908C1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134690-1557-4C89-A502-4959FE7FAD70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7D4976-E339-4826-83B7-FBD03F55ECF8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37C31-9E7A-4F99-8774-A0E530DE1A42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8504F-A551-4DE0-9316-4DCD1D8CC752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4249-C0D0-4B06-8692-E8BB871AF643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042B0DB6-F5C7-45FB-8CF3-31B45F9C2DAC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1F1B322-221A-483C-9AFB-673A4DD71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2050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526" imgH="526" progId="TCLayout.ActiveDocument.1">
                  <p:embed/>
                </p:oleObj>
              </mc:Choice>
              <mc:Fallback>
                <p:oleObj name="think-cell Slide" r:id="rId16" imgW="526" imgH="5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1F1B322-221A-483C-9AFB-673A4DD71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CC90251-A109-42CF-8EE2-865D1522615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2231136" y="964692"/>
            <a:ext cx="7729728" cy="118872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31136" y="2638044"/>
            <a:ext cx="7729728" cy="3101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1160EA64-D806-43AC-9DF2-F8C432F32B4C}" type="datetimeFigureOut">
              <a:rPr lang="en-US" dirty="0"/>
              <a:t>10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hyperlink" Target="https://github.com/jiefeixia/zhenvis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hyperlink" Target="https://github.com/jiefeixia/zhenvis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D59B7B-43D6-4E9C-A7E6-346F0A62F5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70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D59B7B-43D6-4E9C-A7E6-346F0A62F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619F6DF-89A4-461A-A3B1-DADA11B234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9FB68-7DA6-45BC-9011-AEA9623742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“Zhen vis”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1E4B25-A58B-4469-8C85-2882A0670E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Jiefei Xia</a:t>
            </a:r>
          </a:p>
          <a:p>
            <a:r>
              <a:rPr lang="en-US" dirty="0"/>
              <a:t>Internet of Things Final Project</a:t>
            </a:r>
          </a:p>
          <a:p>
            <a:r>
              <a:rPr lang="en-US" dirty="0">
                <a:hlinkClick r:id="rId7"/>
              </a:rPr>
              <a:t>https://github.com/jiefeixia/zhenv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7660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C584CC-E8C1-4BBA-A70E-F2BB41DDA4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747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C584CC-E8C1-4BBA-A70E-F2BB41DDA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B19DF2-687C-40B3-BB79-FC0077505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B5960D-273E-46BD-AAC1-0AE22AE93AD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User Story Dem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Architect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Shopping Lis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3094" name="Picture 22" descr="Image result for jarvis ironman">
            <a:extLst>
              <a:ext uri="{FF2B5EF4-FFF2-40B4-BE49-F238E27FC236}">
                <a16:creationId xmlns:a16="http://schemas.microsoft.com/office/drawing/2014/main" id="{59BD53E2-A962-49F7-B964-64041E075460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60" r="17348"/>
          <a:stretch/>
        </p:blipFill>
        <p:spPr bwMode="auto">
          <a:xfrm>
            <a:off x="6547449" y="442478"/>
            <a:ext cx="5280288" cy="6214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3173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E470B-CA08-4067-9958-E2E71DD22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Story Demo</a:t>
            </a:r>
            <a:endParaRPr lang="zh-CN" altLang="en-US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713A2F3-E09F-48B3-8884-4BC4B00573CD}"/>
              </a:ext>
            </a:extLst>
          </p:cNvPr>
          <p:cNvCxnSpPr/>
          <p:nvPr/>
        </p:nvCxnSpPr>
        <p:spPr>
          <a:xfrm flipV="1">
            <a:off x="13082592" y="7850981"/>
            <a:ext cx="0" cy="16066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VID_20191010_162838">
            <a:hlinkClick r:id="" action="ppaction://media"/>
            <a:extLst>
              <a:ext uri="{FF2B5EF4-FFF2-40B4-BE49-F238E27FC236}">
                <a16:creationId xmlns:a16="http://schemas.microsoft.com/office/drawing/2014/main" id="{5D634DD4-1E6B-438B-9ED8-8B184FADB278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332452" y="121249"/>
            <a:ext cx="3571065" cy="6348562"/>
          </a:xfrm>
        </p:spPr>
      </p:pic>
    </p:spTree>
    <p:extLst>
      <p:ext uri="{BB962C8B-B14F-4D97-AF65-F5344CB8AC3E}">
        <p14:creationId xmlns:p14="http://schemas.microsoft.com/office/powerpoint/2010/main" val="268382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1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7D6EAB-4825-424C-A36A-2F9DD1F06F42}"/>
              </a:ext>
            </a:extLst>
          </p:cNvPr>
          <p:cNvSpPr/>
          <p:nvPr/>
        </p:nvSpPr>
        <p:spPr>
          <a:xfrm>
            <a:off x="4425950" y="3636169"/>
            <a:ext cx="2496344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</a:p>
          <a:p>
            <a:pPr algn="ctr"/>
            <a:r>
              <a:rPr lang="en-US" altLang="zh-CN" dirty="0"/>
              <a:t>(Web Server)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06322-55C3-40D4-91C9-C59367B51835}"/>
              </a:ext>
            </a:extLst>
          </p:cNvPr>
          <p:cNvSpPr/>
          <p:nvPr/>
        </p:nvSpPr>
        <p:spPr>
          <a:xfrm>
            <a:off x="8515350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BDD5F55-EB28-4E79-8B11-583AF2409E40}"/>
              </a:ext>
            </a:extLst>
          </p:cNvPr>
          <p:cNvSpPr/>
          <p:nvPr/>
        </p:nvSpPr>
        <p:spPr>
          <a:xfrm>
            <a:off x="8515350" y="4795837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2B99572-6F4B-460B-BA4F-9884753DB1D4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 flipV="1">
            <a:off x="6922294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F7ED9C6-D367-4375-BB9B-C9E33AEE80AA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6922294" y="4029075"/>
            <a:ext cx="1593056" cy="10703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C590885-2D62-4826-98B0-BB1BE6BF02D0}"/>
              </a:ext>
            </a:extLst>
          </p:cNvPr>
          <p:cNvSpPr/>
          <p:nvPr/>
        </p:nvSpPr>
        <p:spPr>
          <a:xfrm>
            <a:off x="1042992" y="3593308"/>
            <a:ext cx="1964531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Local Web Browser</a:t>
            </a:r>
            <a:endParaRPr lang="zh-CN" alt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6ADE7-2FD5-4D4D-BC66-97C58A59F1C2}"/>
              </a:ext>
            </a:extLst>
          </p:cNvPr>
          <p:cNvSpPr txBox="1"/>
          <p:nvPr/>
        </p:nvSpPr>
        <p:spPr>
          <a:xfrm>
            <a:off x="7429501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255737-4CE9-4F4E-9786-C5EF1D7E4173}"/>
              </a:ext>
            </a:extLst>
          </p:cNvPr>
          <p:cNvSpPr txBox="1"/>
          <p:nvPr/>
        </p:nvSpPr>
        <p:spPr>
          <a:xfrm>
            <a:off x="7150894" y="4378850"/>
            <a:ext cx="1082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USB Port Control</a:t>
            </a:r>
            <a:endParaRPr lang="zh-CN" altLang="en-US" dirty="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380F853-1FE5-4330-826B-76ADB34E512C}"/>
              </a:ext>
            </a:extLst>
          </p:cNvPr>
          <p:cNvCxnSpPr>
            <a:cxnSpLocks/>
            <a:stCxn id="5" idx="1"/>
            <a:endCxn id="13" idx="3"/>
          </p:cNvCxnSpPr>
          <p:nvPr/>
        </p:nvCxnSpPr>
        <p:spPr>
          <a:xfrm flipH="1" flipV="1">
            <a:off x="3007523" y="4025505"/>
            <a:ext cx="1418427" cy="35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61B229B-53C9-4CAB-A92D-DA012A8D5E89}"/>
              </a:ext>
            </a:extLst>
          </p:cNvPr>
          <p:cNvSpPr txBox="1"/>
          <p:nvPr/>
        </p:nvSpPr>
        <p:spPr>
          <a:xfrm>
            <a:off x="3121026" y="3840839"/>
            <a:ext cx="12180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err="1"/>
              <a:t>socketxp</a:t>
            </a:r>
            <a:endParaRPr lang="zh-CN" alt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B163D4-99E8-4D26-A354-CE38D6BB5593}"/>
              </a:ext>
            </a:extLst>
          </p:cNvPr>
          <p:cNvSpPr txBox="1"/>
          <p:nvPr/>
        </p:nvSpPr>
        <p:spPr>
          <a:xfrm>
            <a:off x="2922726" y="5953667"/>
            <a:ext cx="55027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/>
              <a:t>Problem: Connection Reliability</a:t>
            </a:r>
            <a:endParaRPr lang="zh-CN" altLang="en-US" sz="2800" dirty="0"/>
          </a:p>
        </p:txBody>
      </p:sp>
      <p:pic>
        <p:nvPicPr>
          <p:cNvPr id="4098" name="Picture 2" descr="Image result for flask">
            <a:extLst>
              <a:ext uri="{FF2B5EF4-FFF2-40B4-BE49-F238E27FC236}">
                <a16:creationId xmlns:a16="http://schemas.microsoft.com/office/drawing/2014/main" id="{E73ABF03-40F4-40E0-AF66-0BF111655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63" y="305400"/>
            <a:ext cx="1468453" cy="564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36732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2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02953E-E839-4B8B-BA1D-A90AAF4EB61F}"/>
              </a:ext>
            </a:extLst>
          </p:cNvPr>
          <p:cNvSpPr/>
          <p:nvPr/>
        </p:nvSpPr>
        <p:spPr>
          <a:xfrm>
            <a:off x="6535742" y="3636169"/>
            <a:ext cx="1714500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6E8A37-9897-431E-A8F3-0E763564FF6D}"/>
              </a:ext>
            </a:extLst>
          </p:cNvPr>
          <p:cNvSpPr/>
          <p:nvPr/>
        </p:nvSpPr>
        <p:spPr>
          <a:xfrm>
            <a:off x="9436898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B2FCA9-414E-4B36-968F-90BFDA99F501}"/>
              </a:ext>
            </a:extLst>
          </p:cNvPr>
          <p:cNvSpPr/>
          <p:nvPr/>
        </p:nvSpPr>
        <p:spPr>
          <a:xfrm>
            <a:off x="9436898" y="4795837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066DCCC-661D-46C8-9911-6F43A6351763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8250242" y="3125391"/>
            <a:ext cx="11866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D73C47F-CD0C-480C-8A6F-195641061958}"/>
              </a:ext>
            </a:extLst>
          </p:cNvPr>
          <p:cNvCxnSpPr>
            <a:cxnSpLocks/>
            <a:stCxn id="4" idx="3"/>
            <a:endCxn id="6" idx="1"/>
          </p:cNvCxnSpPr>
          <p:nvPr/>
        </p:nvCxnSpPr>
        <p:spPr>
          <a:xfrm>
            <a:off x="8250242" y="4029075"/>
            <a:ext cx="1186656" cy="10703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11256A8-A0E1-4F05-A3A6-7FD9C3F2CC07}"/>
              </a:ext>
            </a:extLst>
          </p:cNvPr>
          <p:cNvSpPr txBox="1"/>
          <p:nvPr/>
        </p:nvSpPr>
        <p:spPr>
          <a:xfrm>
            <a:off x="8541549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22085C-469F-4753-A2A6-7D0D34EF6EF9}"/>
              </a:ext>
            </a:extLst>
          </p:cNvPr>
          <p:cNvSpPr txBox="1"/>
          <p:nvPr/>
        </p:nvSpPr>
        <p:spPr>
          <a:xfrm>
            <a:off x="8262942" y="4378850"/>
            <a:ext cx="1082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USB Port Control</a:t>
            </a:r>
            <a:endParaRPr lang="zh-CN" altLang="en-US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30FCF77-A582-47C7-B6EA-3B06478535D1}"/>
              </a:ext>
            </a:extLst>
          </p:cNvPr>
          <p:cNvCxnSpPr>
            <a:cxnSpLocks/>
            <a:stCxn id="4" idx="1"/>
            <a:endCxn id="21" idx="3"/>
          </p:cNvCxnSpPr>
          <p:nvPr/>
        </p:nvCxnSpPr>
        <p:spPr>
          <a:xfrm flipH="1">
            <a:off x="5327651" y="4029075"/>
            <a:ext cx="1208091" cy="178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275C3DC-C722-40A6-9B0C-ACA4B88B8DCD}"/>
              </a:ext>
            </a:extLst>
          </p:cNvPr>
          <p:cNvSpPr txBox="1"/>
          <p:nvPr/>
        </p:nvSpPr>
        <p:spPr>
          <a:xfrm>
            <a:off x="5523512" y="3862269"/>
            <a:ext cx="844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ublish</a:t>
            </a:r>
            <a:endParaRPr lang="zh-CN" alt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C7C8246-F215-4CBD-BF2E-75791D07C471}"/>
              </a:ext>
            </a:extLst>
          </p:cNvPr>
          <p:cNvSpPr/>
          <p:nvPr/>
        </p:nvSpPr>
        <p:spPr>
          <a:xfrm>
            <a:off x="839794" y="3593308"/>
            <a:ext cx="1593056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Local Web Browser</a:t>
            </a:r>
            <a:endParaRPr lang="zh-CN" alt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AF1D8E6-3606-4FF0-A353-8DF13E0C533E}"/>
              </a:ext>
            </a:extLst>
          </p:cNvPr>
          <p:cNvSpPr/>
          <p:nvPr/>
        </p:nvSpPr>
        <p:spPr>
          <a:xfrm>
            <a:off x="3676651" y="3636169"/>
            <a:ext cx="1651000" cy="8215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WS </a:t>
            </a:r>
          </a:p>
          <a:p>
            <a:pPr algn="ctr"/>
            <a:r>
              <a:rPr lang="en-US" altLang="zh-CN" dirty="0"/>
              <a:t>MQTT Server </a:t>
            </a:r>
          </a:p>
          <a:p>
            <a:pPr algn="ctr"/>
            <a:r>
              <a:rPr lang="en-US" altLang="zh-CN" dirty="0"/>
              <a:t>Web Server</a:t>
            </a:r>
            <a:endParaRPr lang="zh-CN" altLang="en-US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9647ACB-A668-474F-8F0C-423583D8AF22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2432850" y="4025505"/>
            <a:ext cx="1243801" cy="2143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05AB67DA-F5E6-4830-ACA3-1A1CA4BC3754}"/>
              </a:ext>
            </a:extLst>
          </p:cNvPr>
          <p:cNvSpPr txBox="1"/>
          <p:nvPr/>
        </p:nvSpPr>
        <p:spPr>
          <a:xfrm>
            <a:off x="2569572" y="3865843"/>
            <a:ext cx="114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ubscribe</a:t>
            </a:r>
            <a:endParaRPr lang="zh-CN" alt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53A5CD-93DA-4ADA-B09C-5A8089CDF2A3}"/>
              </a:ext>
            </a:extLst>
          </p:cNvPr>
          <p:cNvSpPr txBox="1"/>
          <p:nvPr/>
        </p:nvSpPr>
        <p:spPr>
          <a:xfrm>
            <a:off x="3450216" y="5949746"/>
            <a:ext cx="43563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/>
              <a:t>Problem:  Scalability </a:t>
            </a:r>
            <a:endParaRPr lang="zh-CN" altLang="en-US" sz="3200" dirty="0"/>
          </a:p>
        </p:txBody>
      </p:sp>
      <p:pic>
        <p:nvPicPr>
          <p:cNvPr id="19" name="Picture 2" descr="Image result for flask">
            <a:extLst>
              <a:ext uri="{FF2B5EF4-FFF2-40B4-BE49-F238E27FC236}">
                <a16:creationId xmlns:a16="http://schemas.microsoft.com/office/drawing/2014/main" id="{6222C806-E6AA-4507-A07A-2F6B40F11C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1131" y="927580"/>
            <a:ext cx="1364456" cy="52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MQTT logo">
            <a:extLst>
              <a:ext uri="{FF2B5EF4-FFF2-40B4-BE49-F238E27FC236}">
                <a16:creationId xmlns:a16="http://schemas.microsoft.com/office/drawing/2014/main" id="{EA3C84B2-6905-4FD4-86A3-F107A95C50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2780" y="217208"/>
            <a:ext cx="1618771" cy="423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3806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3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711452-35BD-4449-83B9-A30F23B93736}"/>
              </a:ext>
            </a:extLst>
          </p:cNvPr>
          <p:cNvSpPr/>
          <p:nvPr/>
        </p:nvSpPr>
        <p:spPr>
          <a:xfrm>
            <a:off x="6129342" y="3636169"/>
            <a:ext cx="1714500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97813-4122-47A9-BD37-8937294F5DDA}"/>
              </a:ext>
            </a:extLst>
          </p:cNvPr>
          <p:cNvSpPr/>
          <p:nvPr/>
        </p:nvSpPr>
        <p:spPr>
          <a:xfrm>
            <a:off x="9436898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3CF11A-D2AD-41F5-AC8A-99C939DF0104}"/>
              </a:ext>
            </a:extLst>
          </p:cNvPr>
          <p:cNvSpPr/>
          <p:nvPr/>
        </p:nvSpPr>
        <p:spPr>
          <a:xfrm>
            <a:off x="10622760" y="4895849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5A12F90-4098-4BA4-8281-A766A9FE5D08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7843842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FEF169B-C6A6-434C-A137-8396D3698D00}"/>
              </a:ext>
            </a:extLst>
          </p:cNvPr>
          <p:cNvCxnSpPr>
            <a:cxnSpLocks/>
            <a:stCxn id="19" idx="3"/>
            <a:endCxn id="6" idx="1"/>
          </p:cNvCxnSpPr>
          <p:nvPr/>
        </p:nvCxnSpPr>
        <p:spPr>
          <a:xfrm>
            <a:off x="10197705" y="5199458"/>
            <a:ext cx="42505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7FC9067-DCF3-4AFC-A3D7-C7E60BB46114}"/>
              </a:ext>
            </a:extLst>
          </p:cNvPr>
          <p:cNvSpPr txBox="1"/>
          <p:nvPr/>
        </p:nvSpPr>
        <p:spPr>
          <a:xfrm>
            <a:off x="8351049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45ABBF-144C-4528-9600-8D17C98C6155}"/>
              </a:ext>
            </a:extLst>
          </p:cNvPr>
          <p:cNvSpPr txBox="1"/>
          <p:nvPr/>
        </p:nvSpPr>
        <p:spPr>
          <a:xfrm>
            <a:off x="9045777" y="5955501"/>
            <a:ext cx="1082279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120v Power</a:t>
            </a:r>
            <a:endParaRPr lang="zh-CN" altLang="en-US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4161AB-4642-43CA-8CC9-EA56E685D158}"/>
              </a:ext>
            </a:extLst>
          </p:cNvPr>
          <p:cNvCxnSpPr>
            <a:cxnSpLocks/>
            <a:stCxn id="4" idx="1"/>
            <a:endCxn id="14" idx="3"/>
          </p:cNvCxnSpPr>
          <p:nvPr/>
        </p:nvCxnSpPr>
        <p:spPr>
          <a:xfrm flipH="1">
            <a:off x="5132790" y="4029075"/>
            <a:ext cx="996552" cy="178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16D5B6C-F84A-48A9-821B-113B2059EF86}"/>
              </a:ext>
            </a:extLst>
          </p:cNvPr>
          <p:cNvSpPr txBox="1"/>
          <p:nvPr/>
        </p:nvSpPr>
        <p:spPr>
          <a:xfrm>
            <a:off x="5206012" y="3862269"/>
            <a:ext cx="844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ublish</a:t>
            </a:r>
            <a:endParaRPr lang="zh-CN" alt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475B3C-8508-4AD6-9C6E-2D9022C4AA1A}"/>
              </a:ext>
            </a:extLst>
          </p:cNvPr>
          <p:cNvSpPr/>
          <p:nvPr/>
        </p:nvSpPr>
        <p:spPr>
          <a:xfrm>
            <a:off x="1100144" y="3593308"/>
            <a:ext cx="1593056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Local Web Browser</a:t>
            </a:r>
            <a:endParaRPr lang="zh-CN" alt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A5D6F0-A409-45EA-93DB-31D1D7D003E2}"/>
              </a:ext>
            </a:extLst>
          </p:cNvPr>
          <p:cNvSpPr/>
          <p:nvPr/>
        </p:nvSpPr>
        <p:spPr>
          <a:xfrm>
            <a:off x="3914779" y="3636169"/>
            <a:ext cx="1218011" cy="82153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MQTT Server on AWS</a:t>
            </a:r>
            <a:endParaRPr lang="zh-CN" alt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B1D820F-6604-4CE2-A6F1-AEA4BF23D5F9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2693200" y="4025505"/>
            <a:ext cx="1221579" cy="2143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75E64F3-AB0F-4AC1-94E7-CD4DE073EC68}"/>
              </a:ext>
            </a:extLst>
          </p:cNvPr>
          <p:cNvSpPr txBox="1"/>
          <p:nvPr/>
        </p:nvSpPr>
        <p:spPr>
          <a:xfrm>
            <a:off x="2766422" y="3865843"/>
            <a:ext cx="114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ubscribe</a:t>
            </a:r>
            <a:endParaRPr lang="zh-CN" alt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C3BAEC-331F-4DA7-8865-0EE21C556CB1}"/>
              </a:ext>
            </a:extLst>
          </p:cNvPr>
          <p:cNvSpPr/>
          <p:nvPr/>
        </p:nvSpPr>
        <p:spPr>
          <a:xfrm>
            <a:off x="8979694" y="4788691"/>
            <a:ext cx="1218011" cy="8215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lay</a:t>
            </a:r>
          </a:p>
          <a:p>
            <a:pPr algn="ctr"/>
            <a:r>
              <a:rPr lang="en-US" altLang="zh-CN" dirty="0"/>
              <a:t>Switch</a:t>
            </a:r>
            <a:endParaRPr lang="zh-CN" altLang="en-US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C7B929C-8BDA-4929-B868-0B3BC4FF3D6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7799190" y="4033241"/>
            <a:ext cx="1180504" cy="1166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56F718-3E3D-46CC-BC13-A64FCD5FBE31}"/>
              </a:ext>
            </a:extLst>
          </p:cNvPr>
          <p:cNvSpPr txBox="1"/>
          <p:nvPr/>
        </p:nvSpPr>
        <p:spPr>
          <a:xfrm>
            <a:off x="8101013" y="4457702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8A7761B-BCCD-4359-8104-98B0F201012F}"/>
              </a:ext>
            </a:extLst>
          </p:cNvPr>
          <p:cNvCxnSpPr>
            <a:stCxn id="10" idx="0"/>
            <a:endCxn id="19" idx="2"/>
          </p:cNvCxnSpPr>
          <p:nvPr/>
        </p:nvCxnSpPr>
        <p:spPr>
          <a:xfrm flipV="1">
            <a:off x="9586917" y="5610224"/>
            <a:ext cx="1783" cy="3452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9D5DD0C2-DA65-4159-B59A-C7D68BAAA5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5019" b="28970"/>
          <a:stretch/>
        </p:blipFill>
        <p:spPr>
          <a:xfrm>
            <a:off x="9010723" y="3907574"/>
            <a:ext cx="1180505" cy="850219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80F7A6D2-A367-45EF-BB82-5202E4745A4A}"/>
              </a:ext>
            </a:extLst>
          </p:cNvPr>
          <p:cNvSpPr txBox="1"/>
          <p:nvPr/>
        </p:nvSpPr>
        <p:spPr>
          <a:xfrm>
            <a:off x="2845417" y="6110838"/>
            <a:ext cx="61342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/>
              <a:t>Problem:  Environmentally Friendly</a:t>
            </a:r>
            <a:endParaRPr lang="zh-CN" altLang="en-US" sz="3200" dirty="0"/>
          </a:p>
        </p:txBody>
      </p:sp>
      <p:pic>
        <p:nvPicPr>
          <p:cNvPr id="29" name="Picture 2" descr="Image result for flask">
            <a:extLst>
              <a:ext uri="{FF2B5EF4-FFF2-40B4-BE49-F238E27FC236}">
                <a16:creationId xmlns:a16="http://schemas.microsoft.com/office/drawing/2014/main" id="{9EA5A0C9-C593-484E-90A3-38DD999334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1131" y="927580"/>
            <a:ext cx="1364456" cy="52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MQTT logo">
            <a:extLst>
              <a:ext uri="{FF2B5EF4-FFF2-40B4-BE49-F238E27FC236}">
                <a16:creationId xmlns:a16="http://schemas.microsoft.com/office/drawing/2014/main" id="{9DBAFA8A-B972-46A9-B9AA-CD6508EDF9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2780" y="217208"/>
            <a:ext cx="1618771" cy="423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74441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76110-4878-4396-AA4E-25909556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 v4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711452-35BD-4449-83B9-A30F23B93736}"/>
              </a:ext>
            </a:extLst>
          </p:cNvPr>
          <p:cNvSpPr/>
          <p:nvPr/>
        </p:nvSpPr>
        <p:spPr>
          <a:xfrm>
            <a:off x="6129342" y="3636169"/>
            <a:ext cx="1714500" cy="7858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aspberry Pi</a:t>
            </a:r>
            <a:endParaRPr lang="zh-CN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97813-4122-47A9-BD37-8937294F5DDA}"/>
              </a:ext>
            </a:extLst>
          </p:cNvPr>
          <p:cNvSpPr/>
          <p:nvPr/>
        </p:nvSpPr>
        <p:spPr>
          <a:xfrm>
            <a:off x="9436898" y="2821781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  <a:endParaRPr lang="zh-CN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3CF11A-D2AD-41F5-AC8A-99C939DF0104}"/>
              </a:ext>
            </a:extLst>
          </p:cNvPr>
          <p:cNvSpPr/>
          <p:nvPr/>
        </p:nvSpPr>
        <p:spPr>
          <a:xfrm>
            <a:off x="10622760" y="4895849"/>
            <a:ext cx="1364456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ater Pump</a:t>
            </a:r>
            <a:endParaRPr lang="zh-CN" alt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5A12F90-4098-4BA4-8281-A766A9FE5D08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 flipV="1">
            <a:off x="7843842" y="3125391"/>
            <a:ext cx="1593056" cy="903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FEF169B-C6A6-434C-A137-8396D3698D00}"/>
              </a:ext>
            </a:extLst>
          </p:cNvPr>
          <p:cNvCxnSpPr>
            <a:cxnSpLocks/>
            <a:stCxn id="19" idx="3"/>
            <a:endCxn id="6" idx="1"/>
          </p:cNvCxnSpPr>
          <p:nvPr/>
        </p:nvCxnSpPr>
        <p:spPr>
          <a:xfrm>
            <a:off x="10197705" y="5199458"/>
            <a:ext cx="42505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7FC9067-DCF3-4AFC-A3D7-C7E60BB46114}"/>
              </a:ext>
            </a:extLst>
          </p:cNvPr>
          <p:cNvSpPr txBox="1"/>
          <p:nvPr/>
        </p:nvSpPr>
        <p:spPr>
          <a:xfrm>
            <a:off x="8351049" y="3429000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45ABBF-144C-4528-9600-8D17C98C6155}"/>
              </a:ext>
            </a:extLst>
          </p:cNvPr>
          <p:cNvSpPr txBox="1"/>
          <p:nvPr/>
        </p:nvSpPr>
        <p:spPr>
          <a:xfrm>
            <a:off x="9045777" y="5955501"/>
            <a:ext cx="1082279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120v Power</a:t>
            </a:r>
            <a:endParaRPr lang="zh-CN" altLang="en-US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4161AB-4642-43CA-8CC9-EA56E685D158}"/>
              </a:ext>
            </a:extLst>
          </p:cNvPr>
          <p:cNvCxnSpPr>
            <a:cxnSpLocks/>
            <a:stCxn id="4" idx="1"/>
            <a:endCxn id="14" idx="3"/>
          </p:cNvCxnSpPr>
          <p:nvPr/>
        </p:nvCxnSpPr>
        <p:spPr>
          <a:xfrm flipH="1">
            <a:off x="5132790" y="4029075"/>
            <a:ext cx="996552" cy="178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16D5B6C-F84A-48A9-821B-113B2059EF86}"/>
              </a:ext>
            </a:extLst>
          </p:cNvPr>
          <p:cNvSpPr txBox="1"/>
          <p:nvPr/>
        </p:nvSpPr>
        <p:spPr>
          <a:xfrm>
            <a:off x="5206012" y="3862269"/>
            <a:ext cx="844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ublish</a:t>
            </a:r>
            <a:endParaRPr lang="zh-CN" alt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475B3C-8508-4AD6-9C6E-2D9022C4AA1A}"/>
              </a:ext>
            </a:extLst>
          </p:cNvPr>
          <p:cNvSpPr/>
          <p:nvPr/>
        </p:nvSpPr>
        <p:spPr>
          <a:xfrm>
            <a:off x="1100144" y="3593308"/>
            <a:ext cx="1593056" cy="86439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Local Web Browser</a:t>
            </a:r>
            <a:endParaRPr lang="zh-CN" alt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A5D6F0-A409-45EA-93DB-31D1D7D003E2}"/>
              </a:ext>
            </a:extLst>
          </p:cNvPr>
          <p:cNvSpPr/>
          <p:nvPr/>
        </p:nvSpPr>
        <p:spPr>
          <a:xfrm>
            <a:off x="3914779" y="3636169"/>
            <a:ext cx="1218011" cy="82153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MQTT Server on AWS</a:t>
            </a:r>
            <a:endParaRPr lang="zh-CN" alt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B1D820F-6604-4CE2-A6F1-AEA4BF23D5F9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2693200" y="4025505"/>
            <a:ext cx="1221579" cy="2143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75E64F3-AB0F-4AC1-94E7-CD4DE073EC68}"/>
              </a:ext>
            </a:extLst>
          </p:cNvPr>
          <p:cNvSpPr txBox="1"/>
          <p:nvPr/>
        </p:nvSpPr>
        <p:spPr>
          <a:xfrm>
            <a:off x="2766422" y="3865843"/>
            <a:ext cx="114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ubscribe</a:t>
            </a:r>
            <a:endParaRPr lang="zh-CN" alt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C3BAEC-331F-4DA7-8865-0EE21C556CB1}"/>
              </a:ext>
            </a:extLst>
          </p:cNvPr>
          <p:cNvSpPr/>
          <p:nvPr/>
        </p:nvSpPr>
        <p:spPr>
          <a:xfrm>
            <a:off x="8979694" y="4788691"/>
            <a:ext cx="1218011" cy="8215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elay</a:t>
            </a:r>
          </a:p>
          <a:p>
            <a:pPr algn="ctr"/>
            <a:r>
              <a:rPr lang="en-US" altLang="zh-CN" dirty="0"/>
              <a:t>Switch</a:t>
            </a:r>
            <a:endParaRPr lang="zh-CN" altLang="en-US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C7B929C-8BDA-4929-B868-0B3BC4FF3D6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7799190" y="4033241"/>
            <a:ext cx="1180504" cy="1166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56F718-3E3D-46CC-BC13-A64FCD5FBE31}"/>
              </a:ext>
            </a:extLst>
          </p:cNvPr>
          <p:cNvSpPr txBox="1"/>
          <p:nvPr/>
        </p:nvSpPr>
        <p:spPr>
          <a:xfrm>
            <a:off x="8101013" y="4457702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PIO</a:t>
            </a:r>
            <a:endParaRPr lang="zh-CN" altLang="en-US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8A7761B-BCCD-4359-8104-98B0F201012F}"/>
              </a:ext>
            </a:extLst>
          </p:cNvPr>
          <p:cNvCxnSpPr>
            <a:stCxn id="10" idx="0"/>
            <a:endCxn id="19" idx="2"/>
          </p:cNvCxnSpPr>
          <p:nvPr/>
        </p:nvCxnSpPr>
        <p:spPr>
          <a:xfrm flipV="1">
            <a:off x="9586917" y="5610224"/>
            <a:ext cx="1783" cy="3452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9D5DD0C2-DA65-4159-B59A-C7D68BAAA5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5019" b="28970"/>
          <a:stretch/>
        </p:blipFill>
        <p:spPr>
          <a:xfrm>
            <a:off x="9010723" y="3907574"/>
            <a:ext cx="1180505" cy="850219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2922E3F-3F84-48BC-86AB-44562CC05924}"/>
              </a:ext>
            </a:extLst>
          </p:cNvPr>
          <p:cNvSpPr/>
          <p:nvPr/>
        </p:nvSpPr>
        <p:spPr>
          <a:xfrm>
            <a:off x="6011120" y="5778604"/>
            <a:ext cx="1986662" cy="50006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OpenWeatherMap</a:t>
            </a:r>
            <a:r>
              <a:rPr lang="en-US" altLang="zh-CN" dirty="0"/>
              <a:t> </a:t>
            </a:r>
            <a:endParaRPr lang="zh-CN" altLang="en-US" dirty="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713A2F3-E09F-48B3-8884-4BC4B00573CD}"/>
              </a:ext>
            </a:extLst>
          </p:cNvPr>
          <p:cNvCxnSpPr>
            <a:cxnSpLocks/>
            <a:stCxn id="29" idx="0"/>
            <a:endCxn id="4" idx="2"/>
          </p:cNvCxnSpPr>
          <p:nvPr/>
        </p:nvCxnSpPr>
        <p:spPr>
          <a:xfrm flipH="1" flipV="1">
            <a:off x="6986592" y="4421981"/>
            <a:ext cx="17859" cy="13566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593224D2-56B2-4C98-83EC-492186B6B22D}"/>
              </a:ext>
            </a:extLst>
          </p:cNvPr>
          <p:cNvSpPr txBox="1"/>
          <p:nvPr/>
        </p:nvSpPr>
        <p:spPr>
          <a:xfrm>
            <a:off x="6547251" y="5081731"/>
            <a:ext cx="87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/>
              <a:t>API</a:t>
            </a:r>
            <a:endParaRPr lang="zh-CN" alt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928E93B-A12F-4FBD-A745-E4F119C44A22}"/>
              </a:ext>
            </a:extLst>
          </p:cNvPr>
          <p:cNvSpPr/>
          <p:nvPr/>
        </p:nvSpPr>
        <p:spPr>
          <a:xfrm>
            <a:off x="5792889" y="2309850"/>
            <a:ext cx="2423123" cy="607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I water-saving system</a:t>
            </a:r>
            <a:endParaRPr lang="zh-CN" altLang="en-US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BDE2C4D-24C2-47B9-92AC-5B405D9FDDD6}"/>
              </a:ext>
            </a:extLst>
          </p:cNvPr>
          <p:cNvCxnSpPr>
            <a:cxnSpLocks/>
            <a:stCxn id="4" idx="0"/>
            <a:endCxn id="33" idx="2"/>
          </p:cNvCxnSpPr>
          <p:nvPr/>
        </p:nvCxnSpPr>
        <p:spPr>
          <a:xfrm flipV="1">
            <a:off x="6986592" y="2917069"/>
            <a:ext cx="17859" cy="7191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8" name="Picture 4" descr="Image result for open weathermap">
            <a:extLst>
              <a:ext uri="{FF2B5EF4-FFF2-40B4-BE49-F238E27FC236}">
                <a16:creationId xmlns:a16="http://schemas.microsoft.com/office/drawing/2014/main" id="{ACF7368C-4CEE-4B79-BEB0-C7BD6EC7A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1354" y="1960170"/>
            <a:ext cx="626170" cy="626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Image result for open weathermap">
            <a:extLst>
              <a:ext uri="{FF2B5EF4-FFF2-40B4-BE49-F238E27FC236}">
                <a16:creationId xmlns:a16="http://schemas.microsoft.com/office/drawing/2014/main" id="{2391824A-F00B-4F49-9506-89D7A77AD7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5701" y="7557801"/>
            <a:ext cx="59866" cy="59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Image result for sklearn">
            <a:extLst>
              <a:ext uri="{FF2B5EF4-FFF2-40B4-BE49-F238E27FC236}">
                <a16:creationId xmlns:a16="http://schemas.microsoft.com/office/drawing/2014/main" id="{E360C47E-17A3-4BEC-B609-B52CEA4AC5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426" y="1275725"/>
            <a:ext cx="810025" cy="43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Image result for flask">
            <a:extLst>
              <a:ext uri="{FF2B5EF4-FFF2-40B4-BE49-F238E27FC236}">
                <a16:creationId xmlns:a16="http://schemas.microsoft.com/office/drawing/2014/main" id="{DF8E2E41-22BD-4D9E-8DEF-F3AD040CD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3917" y="698980"/>
            <a:ext cx="1112588" cy="427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" descr="MQTT logo">
            <a:extLst>
              <a:ext uri="{FF2B5EF4-FFF2-40B4-BE49-F238E27FC236}">
                <a16:creationId xmlns:a16="http://schemas.microsoft.com/office/drawing/2014/main" id="{653B65DA-6EF4-4548-BF01-C41BF74BB4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0232" y="204367"/>
            <a:ext cx="1319958" cy="3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82844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00B5D-AC83-4B5A-9385-DA9F7CCF1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hopping list</a:t>
            </a:r>
            <a:endParaRPr lang="zh-CN" alt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C5ED2F-CDBE-46F7-95E0-D5D004C440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Raspberry Pi</a:t>
            </a:r>
          </a:p>
          <a:p>
            <a:r>
              <a:rPr lang="en-US" altLang="zh-CN" dirty="0"/>
              <a:t>Dupont Wire (female-male)</a:t>
            </a:r>
          </a:p>
          <a:p>
            <a:r>
              <a:rPr lang="en-US" altLang="zh-CN" dirty="0"/>
              <a:t>5V Water Pump</a:t>
            </a:r>
          </a:p>
          <a:p>
            <a:r>
              <a:rPr lang="en-US" altLang="zh-CN" dirty="0"/>
              <a:t>Soil Moisture Sensor</a:t>
            </a:r>
          </a:p>
          <a:p>
            <a:r>
              <a:rPr lang="en-US" altLang="zh-CN" dirty="0"/>
              <a:t>USB Relay + USB Charger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61024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845966-86BF-4AFB-A091-49C59041C9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197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845966-86BF-4AFB-A091-49C59041C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D49F00-A4E3-4434-B6CE-5DACA64123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hlinkClick r:id="rId6"/>
              </a:rPr>
              <a:t>https://github.com/jiefeixia/zhenvis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8C70C1-44B9-4641-A79B-4E0C1E0E0E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Please star my project on GitHub!</a:t>
            </a:r>
          </a:p>
          <a:p>
            <a:r>
              <a:rPr lang="en-US" altLang="zh-CN" dirty="0"/>
              <a:t>Thank you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133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TheMrOguNgs8nkq7XS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.2bNh.1atq55epLveh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5[[fn=Parcel]]</Template>
  <TotalTime>66</TotalTime>
  <Words>169</Words>
  <Application>Microsoft Office PowerPoint</Application>
  <PresentationFormat>Widescreen</PresentationFormat>
  <Paragraphs>71</Paragraphs>
  <Slides>9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Gill Sans MT</vt:lpstr>
      <vt:lpstr>Parcel</vt:lpstr>
      <vt:lpstr>think-cell Slide</vt:lpstr>
      <vt:lpstr>“Zhen vis”</vt:lpstr>
      <vt:lpstr>Agenda</vt:lpstr>
      <vt:lpstr>User Story Demo</vt:lpstr>
      <vt:lpstr>Architecture v1</vt:lpstr>
      <vt:lpstr>Architecture v2</vt:lpstr>
      <vt:lpstr>Architecture v3</vt:lpstr>
      <vt:lpstr>Architecture v4</vt:lpstr>
      <vt:lpstr>Shopping list</vt:lpstr>
      <vt:lpstr>https://github.com/jiefeixia/zhenv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Zhen vis”</dc:title>
  <dc:creator>Jiefei XIA</dc:creator>
  <cp:lastModifiedBy>Jiefei Xia</cp:lastModifiedBy>
  <cp:revision>20</cp:revision>
  <dcterms:created xsi:type="dcterms:W3CDTF">2019-10-08T21:12:00Z</dcterms:created>
  <dcterms:modified xsi:type="dcterms:W3CDTF">2019-10-15T22:04:21Z</dcterms:modified>
</cp:coreProperties>
</file>